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56" r:id="rId9"/>
    <p:sldId id="257" r:id="rId10"/>
    <p:sldId id="258" r:id="rId11"/>
    <p:sldId id="259" r:id="rId12"/>
    <p:sldId id="260" r:id="rId13"/>
    <p:sldId id="261" r:id="rId14"/>
    <p:sldId id="262" r:id="rId15"/>
    <p:sldId id="263" r:id="rId16"/>
    <p:sldId id="264" r:id="rId17"/>
    <p:sldId id="265" r:id="rId18"/>
    <p:sldId id="266" r:id="rId19"/>
    <p:sldId id="267" r:id="rId20"/>
    <p:sldId id="268" r:id="rId21"/>
    <p:sldId id="269" r:id="rId22"/>
    <p:sldId id="270" r:id="rId23"/>
    <p:sldId id="277" r:id="rId24"/>
    <p:sldId id="278" r:id="rId25"/>
    <p:sldId id="279" r:id="rId26"/>
    <p:sldId id="280" r:id="rId27"/>
    <p:sldId id="283" r:id="rId28"/>
    <p:sldId id="284" r:id="rId29"/>
  </p:sldIdLst>
  <p:sldSz cx="12193588" cy="6858000"/>
  <p:notesSz cx="7559675" cy="10691813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89" autoAdjust="0"/>
    <p:restoredTop sz="94660"/>
  </p:normalViewPr>
  <p:slideViewPr>
    <p:cSldViewPr snapToGrid="0" snapToObjects="1" showGuides="1">
      <p:cViewPr varScale="1">
        <p:scale>
          <a:sx n="104" d="100"/>
          <a:sy n="104" d="100"/>
        </p:scale>
        <p:origin x="74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,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94</Words>
  <Application>Microsoft Office PowerPoint</Application>
  <PresentationFormat>Benutzerdefiniert</PresentationFormat>
  <Paragraphs>160</Paragraphs>
  <Slides>2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6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PowerPoint-Prä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ichael Mai</cp:lastModifiedBy>
  <cp:revision>193</cp:revision>
  <dcterms:created xsi:type="dcterms:W3CDTF">2019-07-01T16:47:04Z</dcterms:created>
  <dcterms:modified xsi:type="dcterms:W3CDTF">2021-06-24T13:48:36Z</dcterms:modified>
</cp:coreProperties>
</file>